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140411" r:id="rId5"/>
    <p:sldId id="2147140426" r:id="rId6"/>
    <p:sldId id="2147140427" r:id="rId7"/>
    <p:sldId id="2147140428" r:id="rId8"/>
    <p:sldId id="2147140431" r:id="rId9"/>
    <p:sldId id="2147140430" r:id="rId10"/>
    <p:sldId id="2147140432" r:id="rId11"/>
    <p:sldId id="2147140429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2147140426"/>
            <p14:sldId id="2147140427"/>
            <p14:sldId id="2147140428"/>
            <p14:sldId id="2147140431"/>
            <p14:sldId id="2147140430"/>
            <p14:sldId id="2147140432"/>
            <p14:sldId id="214714042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>
        <p:scale>
          <a:sx n="111" d="100"/>
          <a:sy n="111" d="100"/>
        </p:scale>
        <p:origin x="5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7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7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07" r:id="rId24"/>
    <p:sldLayoutId id="2147483708" r:id="rId25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endParaRPr lang="en-US">
              <a:latin typeface="Graphik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aper summa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5493B9-D34F-0FDB-6E37-6314B99D9B9D}"/>
              </a:ext>
            </a:extLst>
          </p:cNvPr>
          <p:cNvSpPr txBox="1"/>
          <p:nvPr/>
        </p:nvSpPr>
        <p:spPr>
          <a:xfrm>
            <a:off x="370417" y="1173980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accent1"/>
                </a:solidFill>
              </a:rPr>
              <a:t>Asks two related questions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What are the </a:t>
            </a:r>
            <a:r>
              <a:rPr lang="en-AU" b="1" dirty="0"/>
              <a:t>employment effects</a:t>
            </a:r>
            <a:r>
              <a:rPr lang="en-AU" dirty="0"/>
              <a:t> of low-income wage subsides/tax-credits?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What are the </a:t>
            </a:r>
            <a:r>
              <a:rPr lang="en-AU" b="1" dirty="0"/>
              <a:t>wage effects</a:t>
            </a:r>
            <a:r>
              <a:rPr lang="en-AU" dirty="0"/>
              <a:t> of such a subsidy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988F16-19E7-63DE-3949-218F9E47EBAB}"/>
              </a:ext>
            </a:extLst>
          </p:cNvPr>
          <p:cNvSpPr txBox="1"/>
          <p:nvPr/>
        </p:nvSpPr>
        <p:spPr>
          <a:xfrm>
            <a:off x="370417" y="2736502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accent1"/>
                </a:solidFill>
              </a:rPr>
              <a:t>Uses a reform in France in 2015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Decreased and increased </a:t>
            </a:r>
            <a:r>
              <a:rPr lang="en-AU" b="1" dirty="0"/>
              <a:t>marginal tax rates</a:t>
            </a:r>
            <a:r>
              <a:rPr lang="en-AU" dirty="0"/>
              <a:t> across the low-earner distribution.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Decreased </a:t>
            </a:r>
            <a:r>
              <a:rPr lang="en-AU" b="1" dirty="0"/>
              <a:t>participation tax rates</a:t>
            </a:r>
            <a:r>
              <a:rPr lang="en-AU" dirty="0"/>
              <a:t> across the low-earner distribution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347C18-F159-E019-5860-FEE0D3ACC0D0}"/>
              </a:ext>
            </a:extLst>
          </p:cNvPr>
          <p:cNvSpPr txBox="1"/>
          <p:nvPr/>
        </p:nvSpPr>
        <p:spPr>
          <a:xfrm>
            <a:off x="370417" y="4299024"/>
            <a:ext cx="9506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>
                <a:solidFill>
                  <a:schemeClr val="accent1"/>
                </a:solidFill>
              </a:rPr>
              <a:t>From a </a:t>
            </a:r>
            <a:r>
              <a:rPr lang="en-AU" b="1" dirty="0">
                <a:solidFill>
                  <a:schemeClr val="accent1"/>
                </a:solidFill>
              </a:rPr>
              <a:t>10% reduction in the net of participation tax rate</a:t>
            </a:r>
            <a:r>
              <a:rPr lang="en-AU" dirty="0">
                <a:solidFill>
                  <a:schemeClr val="accent1"/>
                </a:solidFill>
              </a:rPr>
              <a:t>:</a:t>
            </a:r>
          </a:p>
          <a:p>
            <a:endParaRPr lang="en-AU" dirty="0"/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A 2.7% increase in hours worked.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A 3.1% decline in wages (31% pass through to firms)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DE75BE-D706-0F22-8C86-CBDF74E7C933}"/>
              </a:ext>
            </a:extLst>
          </p:cNvPr>
          <p:cNvSpPr txBox="1"/>
          <p:nvPr/>
        </p:nvSpPr>
        <p:spPr>
          <a:xfrm>
            <a:off x="370417" y="5861546"/>
            <a:ext cx="950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Extensive margin response with no intensive margin response </a:t>
            </a:r>
            <a:r>
              <a:rPr lang="en-AU" b="1" dirty="0">
                <a:solidFill>
                  <a:schemeClr val="accent1"/>
                </a:solidFill>
              </a:rPr>
              <a:t>consistent with literature</a:t>
            </a:r>
            <a:r>
              <a:rPr lang="en-A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11303-8BDC-CE4B-AEA9-824EEDA2A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9D22A2-A993-2B67-8646-1C9EB32408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36A565-1605-23C6-4C54-F22FA5802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pproach and identific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44A298-B7EA-2630-F608-F741BD2750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6546097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AE1DF9-4C40-31DF-9624-4AA265CBF5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F35CCA-A4A8-A503-0973-7C297DA7C1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36631C-BA93-DD6D-F27C-7BCB93FD6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: Interpretation of the shock variab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81DA48-EBFE-B35C-09BB-8263CE7BE4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2C223B-CD89-284B-0B7E-9BCD30F4F2A1}"/>
              </a:ext>
            </a:extLst>
          </p:cNvPr>
          <p:cNvSpPr txBox="1"/>
          <p:nvPr/>
        </p:nvSpPr>
        <p:spPr>
          <a:xfrm>
            <a:off x="444640" y="1157731"/>
            <a:ext cx="107053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wo regions could have the same shock with two very different patterns of treatment.</a:t>
            </a:r>
          </a:p>
          <a:p>
            <a:endParaRPr lang="en-AU" dirty="0"/>
          </a:p>
          <a:p>
            <a:r>
              <a:rPr lang="en-AU" dirty="0"/>
              <a:t>e.g. Two regions with 10 people, A and B. In region A 10 people see net PTR fall by 1%, in region B 1 person sees it fall by 10%. </a:t>
            </a:r>
            <a:r>
              <a:rPr lang="en-AU" b="1" dirty="0"/>
              <a:t>Both regions have the same shock</a:t>
            </a:r>
            <a:r>
              <a:rPr lang="en-AU" dirty="0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1A66D0-9E2B-1425-0236-2085C3A826F0}"/>
              </a:ext>
            </a:extLst>
          </p:cNvPr>
          <p:cNvSpPr txBox="1"/>
          <p:nvPr/>
        </p:nvSpPr>
        <p:spPr>
          <a:xfrm>
            <a:off x="444640" y="3292439"/>
            <a:ext cx="1070538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Participation rate concern</a:t>
            </a:r>
            <a:r>
              <a:rPr lang="en-AU" dirty="0"/>
              <a:t>: 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Take the individual who receives the largest hour-weighted treatment. On the substitution margin their MTR is unchanged, but the income effect will lower their work incentives. </a:t>
            </a:r>
          </a:p>
          <a:p>
            <a:pPr marL="342900" indent="-342900">
              <a:buFont typeface="+mj-lt"/>
              <a:buAutoNum type="arabicPeriod"/>
            </a:pPr>
            <a:r>
              <a:rPr lang="en-AU" dirty="0"/>
              <a:t>Take an unemployed individual.  On the substitution margin the MTR is lower, and there is no income effect.</a:t>
            </a:r>
          </a:p>
          <a:p>
            <a:pPr marL="342900" indent="-342900">
              <a:buFont typeface="+mj-lt"/>
              <a:buAutoNum type="arabicPeriod"/>
            </a:pPr>
            <a:endParaRPr lang="en-AU" dirty="0"/>
          </a:p>
          <a:p>
            <a:r>
              <a:rPr lang="en-AU" dirty="0"/>
              <a:t>However, this instrument would treat the former as treated and the later as untreat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FE89CE-9477-657F-0751-8C50092FB3B3}"/>
              </a:ext>
            </a:extLst>
          </p:cNvPr>
          <p:cNvSpPr txBox="1"/>
          <p:nvPr/>
        </p:nvSpPr>
        <p:spPr>
          <a:xfrm>
            <a:off x="444640" y="2676299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Furthermore, the simulated shocks are based on the change in tax incentives from their status qu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C36244-1902-57C5-DC54-60117A02B9C6}"/>
              </a:ext>
            </a:extLst>
          </p:cNvPr>
          <p:cNvSpPr txBox="1"/>
          <p:nvPr/>
        </p:nvSpPr>
        <p:spPr>
          <a:xfrm>
            <a:off x="444640" y="5638830"/>
            <a:ext cx="1070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is </a:t>
            </a:r>
            <a:r>
              <a:rPr lang="en-AU" b="1" dirty="0"/>
              <a:t>is addressed</a:t>
            </a:r>
            <a:r>
              <a:rPr lang="en-AU" dirty="0"/>
              <a:t> by imputing their income based on characteristics to estimate a treatment intensity.</a:t>
            </a:r>
          </a:p>
        </p:txBody>
      </p:sp>
    </p:spTree>
    <p:extLst>
      <p:ext uri="{BB962C8B-B14F-4D97-AF65-F5344CB8AC3E}">
        <p14:creationId xmlns:p14="http://schemas.microsoft.com/office/powerpoint/2010/main" val="37098290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C08079-2D21-97BA-067B-1AD5E1952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5A4049-F178-98D4-8E4F-C408D617CC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E5802A-F329-EC61-77EB-AF011A6D6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: Importance of randomly-assigned-shock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334877-634D-9121-088F-9318F4CF4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CFC445-E4C7-82F1-EE27-4E479F78C88B}"/>
              </a:ext>
            </a:extLst>
          </p:cNvPr>
          <p:cNvSpPr txBox="1"/>
          <p:nvPr/>
        </p:nvSpPr>
        <p:spPr>
          <a:xfrm>
            <a:off x="457198" y="1543312"/>
            <a:ext cx="4692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 dirty="0" err="1"/>
              <a:t>Chaisemartin</a:t>
            </a:r>
            <a:r>
              <a:rPr lang="en-AU" b="1" dirty="0"/>
              <a:t> &amp; Lei (2022)</a:t>
            </a:r>
            <a:r>
              <a:rPr lang="en-AU" dirty="0"/>
              <a:t>: XXX</a:t>
            </a:r>
          </a:p>
        </p:txBody>
      </p:sp>
    </p:spTree>
    <p:extLst>
      <p:ext uri="{BB962C8B-B14F-4D97-AF65-F5344CB8AC3E}">
        <p14:creationId xmlns:p14="http://schemas.microsoft.com/office/powerpoint/2010/main" val="2825122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F2381-1461-AAF2-1CE5-1604AB256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282D0BF-7905-D393-0C85-53C147997B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3DEF1E-0BD2-D6EC-B531-D6B03D144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otential limitations: Mobili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5D1420-8474-9877-001F-135192350D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BEBFDD-0E5C-FFDC-0827-D5F966A5F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5057" y="1976235"/>
            <a:ext cx="5420481" cy="29055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1898C95-7AF7-F104-3CEB-142C151E8629}"/>
              </a:ext>
            </a:extLst>
          </p:cNvPr>
          <p:cNvSpPr txBox="1"/>
          <p:nvPr/>
        </p:nvSpPr>
        <p:spPr>
          <a:xfrm>
            <a:off x="500332" y="1354347"/>
            <a:ext cx="52576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Mobility between regions shown to be limited</a:t>
            </a:r>
            <a:br>
              <a:rPr lang="en-AU" dirty="0"/>
            </a:br>
            <a:r>
              <a:rPr lang="en-AU" dirty="0"/>
              <a:t>over the perio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However, the key interest is mobility among </a:t>
            </a:r>
            <a:br>
              <a:rPr lang="en-AU" dirty="0"/>
            </a:br>
            <a:r>
              <a:rPr lang="en-AU" dirty="0"/>
              <a:t>treated individuals.</a:t>
            </a:r>
          </a:p>
        </p:txBody>
      </p:sp>
    </p:spTree>
    <p:extLst>
      <p:ext uri="{BB962C8B-B14F-4D97-AF65-F5344CB8AC3E}">
        <p14:creationId xmlns:p14="http://schemas.microsoft.com/office/powerpoint/2010/main" val="38432568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2D0652-56E8-5F05-1C45-1E7867E35E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538FC5-AF64-A5F1-6E75-9752FE5749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B45658-B6F9-434E-961A-FAF12D3B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inor ques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5F5985-371E-017C-165A-964F14BF5F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D6379D-10F5-80F2-E9AD-2F65828EB564}"/>
              </a:ext>
            </a:extLst>
          </p:cNvPr>
          <p:cNvSpPr txBox="1"/>
          <p:nvPr/>
        </p:nvSpPr>
        <p:spPr>
          <a:xfrm>
            <a:off x="707366" y="1500996"/>
            <a:ext cx="1055010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e imputation of wages for non-participants is done via OLS. Heckman selection model an alternati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Equivalisation of earnings: No standard scale used, and unclear why equivalisation is need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Sensitivity to unbalanced pan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General equilibrium effects (what happens to the level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/>
              <a:t>There is imperfect take-up, when prior policies had low or full take-up. These changes in treatment status may themselves be informative of behavioural responses.</a:t>
            </a:r>
          </a:p>
        </p:txBody>
      </p:sp>
    </p:spTree>
    <p:extLst>
      <p:ext uri="{BB962C8B-B14F-4D97-AF65-F5344CB8AC3E}">
        <p14:creationId xmlns:p14="http://schemas.microsoft.com/office/powerpoint/2010/main" val="30748588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8171BC-5CF2-F8CB-E67E-923319AC3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CE7ECE1-4525-9FE4-6EFF-45879A647B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93055B-769C-5449-E847-67A9AA8C6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tra Pic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CD07DA-2D82-D09B-5D7B-50BE73F983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 dirty="0"/>
              <a:t>XXX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D7ED22-FA9A-2198-461A-001D5EE75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85" y="2262645"/>
            <a:ext cx="5660715" cy="310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2103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8" ma:contentTypeDescription="Create a new document." ma:contentTypeScope="" ma:versionID="8dc4163b27f0ec44a22c6d7358323f5f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a1176a965c39d1ac1c7d6ef690b32559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54E5144-405F-49D2-89C0-6C01A508B4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1)</Template>
  <TotalTime>408</TotalTime>
  <Words>412</Words>
  <Application>Microsoft Office PowerPoint</Application>
  <PresentationFormat>Widescreen</PresentationFormat>
  <Paragraphs>5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Graphik</vt:lpstr>
      <vt:lpstr>GT Sectra Fine</vt:lpstr>
      <vt:lpstr>Proxima Nova Rg</vt:lpstr>
      <vt:lpstr>System Font</vt:lpstr>
      <vt:lpstr>e61 slide master</vt:lpstr>
      <vt:lpstr>think-cell Slide</vt:lpstr>
      <vt:lpstr>PowerPoint Presentation</vt:lpstr>
      <vt:lpstr>Paper summary</vt:lpstr>
      <vt:lpstr>Approach and identification</vt:lpstr>
      <vt:lpstr>Potential limitations: Interpretation of the shock variable</vt:lpstr>
      <vt:lpstr>Potential limitations: Importance of randomly-assigned-shocks</vt:lpstr>
      <vt:lpstr>Potential limitations: Mobility</vt:lpstr>
      <vt:lpstr>Minor questions</vt:lpstr>
      <vt:lpstr>Extra Pictur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 Nolan</dc:creator>
  <cp:lastModifiedBy>Matt Nolan</cp:lastModifiedBy>
  <cp:revision>15</cp:revision>
  <dcterms:created xsi:type="dcterms:W3CDTF">2025-07-27T23:18:17Z</dcterms:created>
  <dcterms:modified xsi:type="dcterms:W3CDTF">2025-07-28T06:0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